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14C_0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4"/>
  </p:notesMasterIdLst>
  <p:sldIdLst>
    <p:sldId id="332" r:id="rId13"/>
  </p:sldIdLst>
  <p:sldSz cx="9144000" cy="5143500" type="screen16x9"/>
  <p:notesSz cx="6858000" cy="9144000"/>
  <p:embeddedFontLst>
    <p:embeddedFont>
      <p:font typeface="Exo" panose="020B0604020202020204" charset="0"/>
      <p:regular r:id="rId15"/>
      <p:bold r:id="rId16"/>
      <p:italic r:id="rId17"/>
      <p:boldItalic r:id="rId18"/>
    </p:embeddedFont>
    <p:embeddedFont>
      <p:font typeface="Playfair Display SemiBold" panose="020B0604020202020204" charset="0"/>
      <p:regular r:id="rId19"/>
      <p:bold r:id="rId20"/>
      <p:italic r:id="rId21"/>
      <p:boldItalic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1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font" Target="fonts/font1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5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/Relationships>
</file>

<file path=ppt/comments/modernComment_14C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BED6714-A98A-48BF-BEC3-C573884F8627}" authorId="{EC28B4B0-6701-2EAD-4AFD-41CFFF8EDE08}" created="2025-05-19T21:27:51.024">
    <pc:sldMkLst xmlns:pc="http://schemas.microsoft.com/office/powerpoint/2013/main/command">
      <pc:docMk/>
      <pc:sldMk cId="0" sldId="332"/>
    </pc:sldMkLst>
    <p188:txBody>
      <a:bodyPr/>
      <a:lstStyle/>
      <a:p>
        <a:r>
          <a:rPr lang="en-US"/>
          <a:t>Fix border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" name="Google Shape;1443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44" name="Google Shape;1444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4C_0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6" name="Google Shape;1446;p15"/>
          <p:cNvSpPr txBox="1"/>
          <p:nvPr/>
        </p:nvSpPr>
        <p:spPr>
          <a:xfrm>
            <a:off x="457200" y="499596"/>
            <a:ext cx="835152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Deloitte, Accenture, and Capgemini among the leaders in content generation, as well as KPMG, McKinsey, and BCG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447" name="Google Shape;1447;p15"/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48" name="Google Shape;1448;p15"/>
          <p:cNvPicPr preferRelativeResize="0"/>
          <p:nvPr/>
        </p:nvPicPr>
        <p:blipFill rotWithShape="1">
          <a:blip r:embed="rId4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1449" name="Google Shape;1449;p15"/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1450" name="Google Shape;1450;p15"/>
          <p:cNvSpPr txBox="1"/>
          <p:nvPr/>
        </p:nvSpPr>
        <p:spPr>
          <a:xfrm>
            <a:off x="388620" y="1196340"/>
            <a:ext cx="82448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Topic relevance of semiconductor-related articles, by company</a:t>
            </a:r>
            <a:endParaRPr sz="1200" b="0" i="0" u="none" strike="noStrike" cap="none" baseline="30000">
              <a:solidFill>
                <a:schemeClr val="accent4"/>
              </a:solidFill>
              <a:latin typeface="Exo"/>
              <a:ea typeface="Exo"/>
              <a:cs typeface="Exo"/>
              <a:sym typeface="Exo"/>
            </a:endParaRPr>
          </a:p>
        </p:txBody>
      </p:sp>
      <p:graphicFrame>
        <p:nvGraphicFramePr>
          <p:cNvPr id="1451" name="Google Shape;1451;p15"/>
          <p:cNvGraphicFramePr/>
          <p:nvPr/>
        </p:nvGraphicFramePr>
        <p:xfrm>
          <a:off x="481150" y="1597363"/>
          <a:ext cx="8464275" cy="271462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80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7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7045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809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verage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ig 4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0" i="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BB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echnology consulting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u="none" strike="noStrike" cap="none">
                          <a:solidFill>
                            <a:schemeClr val="accent4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id-sized accounting</a:t>
                      </a:r>
                      <a:endParaRPr sz="1000" u="none" strike="noStrike" cap="none">
                        <a:solidFill>
                          <a:schemeClr val="accent4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KPMG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Deloitte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E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PwC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cK</a:t>
                      </a:r>
                      <a:endParaRPr sz="800" b="0" i="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CG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ain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ccent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apgem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ogniz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nfosys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BDO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rant T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b="0" i="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Mazars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90A6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overnment investment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1A7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074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D70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78B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DA3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579B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1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A6D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589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C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BB1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6D0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9D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12700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Sustainabil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1A7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2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567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79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34237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2A8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2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466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C6F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1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3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365A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F83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FC8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2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6E2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0DB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Talent retention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9AF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C6F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5AB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1B8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0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D70B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67A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6CF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F72B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C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3BA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E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Regulatory risk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DB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286C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97D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499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AB0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387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C91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8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5CE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CB2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A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CD7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2DD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Cybersecur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59A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B9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4AA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DB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B9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D92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4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dvanced node technologie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E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49A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68A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9C0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0C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78B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88C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0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6AC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B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ED8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5F4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0E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AE7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Quantum computing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E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87CB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F73B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3CC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0DC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lt1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63</a:t>
                      </a:r>
                      <a:endParaRPr sz="800" u="none" strike="noStrike" cap="none">
                        <a:solidFill>
                          <a:schemeClr val="lt1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7062A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579B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4F2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9488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A7E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9F9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7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BFA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IP risk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0C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0A6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7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DC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CA2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7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7ADE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6B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FED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DE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1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enerative AI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77B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BD5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8D81C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0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4F3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2A8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398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8D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7B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AF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3F1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Geopolitical tensions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59B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C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FC7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9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BC2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BE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AD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0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AF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D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Operational complexity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2CB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5AB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A9F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DC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4CE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89E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ABA1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7E3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5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B6AC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C2B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E4E0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CD6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1EF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7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DFDA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  <a:solidFill>
                      <a:srgbClr val="F2F0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5g / 6g networks</a:t>
                      </a:r>
                      <a:endParaRPr sz="800" i="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7D1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6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3A9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9F94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3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4C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1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6D0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AB0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7B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4F3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8AF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9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A89D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4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D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0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2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8F8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-US" sz="800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3`</a:t>
                      </a:r>
                      <a:endParaRPr sz="800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dk2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7F6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Average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CAC2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1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D92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6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8C7F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2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BFB6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7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CCC4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4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488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2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9B8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3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5E1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50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A398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47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ACA2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DCD7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34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R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D1C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18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L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DEB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1000" b="1" u="none" strike="noStrike" cap="none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AE7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000" b="1" u="none" strike="noStrike" cap="none" dirty="0">
                          <a:solidFill>
                            <a:schemeClr val="dk2"/>
                          </a:solidFill>
                          <a:latin typeface="Exo"/>
                          <a:ea typeface="Exo"/>
                          <a:cs typeface="Exo"/>
                          <a:sym typeface="Exo"/>
                        </a:rPr>
                        <a:t>0.20</a:t>
                      </a:r>
                      <a:endParaRPr sz="1000" b="1" u="none" strike="noStrike" cap="none" dirty="0">
                        <a:solidFill>
                          <a:schemeClr val="dk2"/>
                        </a:solidFill>
                        <a:latin typeface="Exo"/>
                        <a:ea typeface="Exo"/>
                        <a:cs typeface="Exo"/>
                        <a:sym typeface="Exo"/>
                      </a:endParaRPr>
                    </a:p>
                  </a:txBody>
                  <a:tcPr marL="0" marR="0" marT="0" marB="0" anchor="ctr">
                    <a:lnT w="9525" cap="flat" cmpd="sng">
                      <a:solidFill>
                        <a:schemeClr val="accent4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rgbClr val="EBE8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452" name="Google Shape;1452;p15"/>
          <p:cNvSpPr txBox="1"/>
          <p:nvPr/>
        </p:nvSpPr>
        <p:spPr>
          <a:xfrm>
            <a:off x="800100" y="4553517"/>
            <a:ext cx="68733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Note: </a:t>
            </a: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imilarity scores represent the semantic similarity between an article and a topic. Values range from 0 to 1 . Scores are directional. They do not represent percentages or tangible metrics, and they should not be used to calculate composite metrics (e.g., ratio between relevance of two different topics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993D2C29-A757-4DAB-9053-36C948109694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8</TotalTime>
  <Words>339</Words>
  <Application>Microsoft Office PowerPoint</Application>
  <PresentationFormat>On-screen Show (16:9)</PresentationFormat>
  <Paragraphs>2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Playfair Display SemiBold</vt:lpstr>
      <vt:lpstr>Exo</vt:lpstr>
      <vt:lpstr>Arial</vt:lpstr>
      <vt:lpstr>1_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7</cp:revision>
  <dcterms:modified xsi:type="dcterms:W3CDTF">2025-09-24T16:35:11Z</dcterms:modified>
</cp:coreProperties>
</file>